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48" r:id="rId4"/>
  </p:sldMasterIdLst>
  <p:notesMasterIdLst>
    <p:notesMasterId r:id="rId9"/>
  </p:notesMasterIdLst>
  <p:handoutMasterIdLst>
    <p:handoutMasterId r:id="rId10"/>
  </p:handoutMasterIdLst>
  <p:sldIdLst>
    <p:sldId id="2147479143" r:id="rId5"/>
    <p:sldId id="2147479114" r:id="rId6"/>
    <p:sldId id="2147479109" r:id="rId7"/>
    <p:sldId id="2147479115" r:id="rId8"/>
  </p:sldIdLst>
  <p:sldSz cx="12192000" cy="6858000"/>
  <p:notesSz cx="6858000" cy="9144000"/>
  <p:defaultTextStyle>
    <a:defPPr>
      <a:defRPr lang="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4E41DF5-8F3B-46E0-B587-CD254BA89F8C}">
          <p14:sldIdLst>
            <p14:sldId id="2147479143"/>
            <p14:sldId id="2147479114"/>
            <p14:sldId id="2147479109"/>
            <p14:sldId id="214747911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4F3F1"/>
    <a:srgbClr val="FFFFFF"/>
    <a:srgbClr val="EBEBEB"/>
    <a:srgbClr val="8F959A"/>
    <a:srgbClr val="A8C9FE"/>
    <a:srgbClr val="0066FF"/>
    <a:srgbClr val="DC202E"/>
    <a:srgbClr val="000000"/>
    <a:srgbClr val="E0E0E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3" autoAdjust="0"/>
    <p:restoredTop sz="93197" autoAdjust="0"/>
  </p:normalViewPr>
  <p:slideViewPr>
    <p:cSldViewPr snapToGrid="0">
      <p:cViewPr varScale="1">
        <p:scale>
          <a:sx n="111" d="100"/>
          <a:sy n="111" d="100"/>
        </p:scale>
        <p:origin x="5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4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4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j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j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j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198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8395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7966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70284F-7E88-4545-9BB2-221688BE3F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147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1066801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700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54855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712731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242278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66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646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, 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66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770C72-1256-42F3-9BCC-CDD8F77BE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6690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3" progId="TCLayout.ActiveDocument.1">
                  <p:embed/>
                </p:oleObj>
              </mc:Choice>
              <mc:Fallback>
                <p:oleObj name="think-cell Slide" r:id="rId11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770C72-1256-42F3-9BCC-CDD8F77BE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725EB1-83B9-456E-92F1-00465EE92A27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0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Footer, 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154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Honeywell Sans" panose="02010503040101060203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1000"/>
        </a:spcAft>
        <a:buFont typeface="Arial" panose="020B0604020202020204" pitchFamily="34" charset="0"/>
        <a:buNone/>
        <a:defRPr sz="2400" b="1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E081A0F-9FEC-4887-8646-156F1D75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E081A0F-9FEC-4887-8646-156F1D753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396A6020-414E-4CA8-9AF8-6BB4593953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altLang="zh-C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/>
              <a:ea typeface="+mj-ea"/>
              <a:cs typeface="+mn-cs"/>
              <a:sym typeface="+mj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29AD0-3523-40A2-A721-908E42745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s-MX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s-MX" sz="1000" b="1" i="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663D6848-313E-45F6-9558-172BCCEEA0E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1242" y="1279523"/>
            <a:ext cx="2940350" cy="1644017"/>
          </a:xfrm>
        </p:spPr>
      </p:pic>
      <p:graphicFrame>
        <p:nvGraphicFramePr>
          <p:cNvPr id="17" name="Table 25">
            <a:extLst>
              <a:ext uri="{FF2B5EF4-FFF2-40B4-BE49-F238E27FC236}">
                <a16:creationId xmlns:a16="http://schemas.microsoft.com/office/drawing/2014/main" id="{6456085C-429B-46A0-8C9F-CF2B240517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3950168"/>
              </p:ext>
            </p:extLst>
          </p:nvPr>
        </p:nvGraphicFramePr>
        <p:xfrm>
          <a:off x="544752" y="3086820"/>
          <a:ext cx="3924000" cy="3553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62000">
                  <a:extLst>
                    <a:ext uri="{9D8B030D-6E8A-4147-A177-3AD203B41FA5}">
                      <a16:colId xmlns:a16="http://schemas.microsoft.com/office/drawing/2014/main" val="470435450"/>
                    </a:ext>
                  </a:extLst>
                </a:gridCol>
                <a:gridCol w="1962000">
                  <a:extLst>
                    <a:ext uri="{9D8B030D-6E8A-4147-A177-3AD203B41FA5}">
                      <a16:colId xmlns:a16="http://schemas.microsoft.com/office/drawing/2014/main" val="154868126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álvula y actuador FCU</a:t>
                      </a:r>
                      <a:endParaRPr lang="zh-CN" altLang="en-US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73502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es" altLang="zh-CN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álvula FCU de retorno por resorte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A8A8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200" b="1" dirty="0"/>
                        <a:t>Serie VS9</a:t>
                      </a:r>
                      <a:endParaRPr lang="zh-CN" altLang="en-US" sz="1400" b="1" dirty="0"/>
                    </a:p>
                  </a:txBody>
                  <a:tcPr anchor="ctr">
                    <a:solidFill>
                      <a:srgbClr val="A8A8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36717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rón de válvula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 vías</a:t>
                      </a:r>
                      <a:r>
                        <a:rPr lang="es" altLang="en-US" sz="1000" dirty="0"/>
                        <a:t> </a:t>
                      </a:r>
                      <a:r>
                        <a:rPr lang="es" altLang="zh-CN" sz="1000" dirty="0"/>
                        <a:t>/ 3 vías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12304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Tensión de alimentación</a:t>
                      </a:r>
                      <a:endParaRPr lang="zh-CN" altLang="en-US" sz="10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4 / 110 / 220 </a:t>
                      </a:r>
                      <a:r>
                        <a:rPr lang="en-US" altLang="zh-CN" sz="1000" dirty="0"/>
                        <a:t>VAC</a:t>
                      </a:r>
                      <a:r>
                        <a:rPr lang="es" altLang="zh-CN" sz="1000" dirty="0"/>
                        <a:t> ±10 %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222197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Conexión</a:t>
                      </a:r>
                      <a:r>
                        <a:rPr lang="es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s-ES" altLang="zh-CN" sz="1000" noProof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Rosca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>
                          <a:highlight>
                            <a:srgbClr val="FFFF00"/>
                          </a:highlight>
                        </a:rPr>
                        <a:t>BSPP/BSPT </a:t>
                      </a:r>
                      <a:r>
                        <a:rPr lang="es" altLang="zh-CN" sz="1000" dirty="0"/>
                        <a:t>/ </a:t>
                      </a:r>
                      <a:r>
                        <a:rPr lang="en-US" altLang="zh-CN" sz="1000" dirty="0">
                          <a:highlight>
                            <a:srgbClr val="00FF00"/>
                          </a:highlight>
                        </a:rPr>
                        <a:t>NPT</a:t>
                      </a:r>
                      <a:endParaRPr lang="zh-CN" altLang="en-US" sz="1000" dirty="0">
                        <a:highlight>
                          <a:srgbClr val="00FF00"/>
                        </a:highlight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01438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maño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DN15/DN20/DN25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93810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álvula FCU sin retorno por resorte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rie VN3/VN8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70976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rol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-Off</a:t>
                      </a:r>
                      <a:r>
                        <a:rPr lang="es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</a:t>
                      </a:r>
                      <a:r>
                        <a:rPr lang="es-ES" altLang="zh-CN" sz="10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ulan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790528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rón de válvula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 vías</a:t>
                      </a:r>
                      <a:r>
                        <a:rPr lang="es" altLang="en-US" sz="1000" dirty="0"/>
                        <a:t> </a:t>
                      </a:r>
                      <a:r>
                        <a:rPr lang="es" altLang="zh-CN" sz="1000" dirty="0"/>
                        <a:t>/ 3 vías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95255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Tensión de alimentación</a:t>
                      </a:r>
                      <a:endParaRPr lang="zh-CN" altLang="en-US" sz="10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4 / 110 / 220 </a:t>
                      </a:r>
                      <a:r>
                        <a:rPr lang="en-US" altLang="zh-CN" sz="1000" dirty="0"/>
                        <a:t>VAC</a:t>
                      </a:r>
                      <a:r>
                        <a:rPr lang="es" altLang="zh-CN" sz="1000" dirty="0"/>
                        <a:t> ±10 %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870435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Conexión</a:t>
                      </a:r>
                      <a:r>
                        <a:rPr lang="es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s-ES" altLang="zh-CN" sz="1000" noProof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Rosca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>
                          <a:highlight>
                            <a:srgbClr val="FFFF00"/>
                          </a:highlight>
                        </a:rPr>
                        <a:t>BSPP/BSPT </a:t>
                      </a:r>
                      <a:r>
                        <a:rPr lang="es" altLang="zh-CN" sz="1000" dirty="0"/>
                        <a:t>/ </a:t>
                      </a:r>
                      <a:r>
                        <a:rPr lang="en-US" altLang="zh-CN" sz="1000" dirty="0">
                          <a:highlight>
                            <a:srgbClr val="00FF00"/>
                          </a:highlight>
                        </a:rPr>
                        <a:t>NPT</a:t>
                      </a:r>
                      <a:endParaRPr lang="zh-CN" altLang="en-US" sz="1000" dirty="0">
                        <a:highlight>
                          <a:srgbClr val="00FF00"/>
                        </a:highlight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356782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maño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DN15/DN20/DN25/ </a:t>
                      </a:r>
                      <a:r>
                        <a:rPr lang="es" altLang="zh-CN" sz="1000" dirty="0">
                          <a:solidFill>
                            <a:schemeClr val="accent1"/>
                          </a:solidFill>
                        </a:rPr>
                        <a:t>DN32</a:t>
                      </a:r>
                      <a:endParaRPr lang="zh-CN" altLang="en-US" sz="10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4864209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376D2A-F83D-1E8A-D86C-105CFCBEB286}"/>
              </a:ext>
            </a:extLst>
          </p:cNvPr>
          <p:cNvSpPr txBox="1">
            <a:spLocks/>
          </p:cNvSpPr>
          <p:nvPr/>
        </p:nvSpPr>
        <p:spPr>
          <a:xfrm>
            <a:off x="663851" y="282734"/>
            <a:ext cx="11201401" cy="35041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zh-CN" sz="2800" b="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  <a:cs typeface="+mj-cs"/>
              </a:rPr>
              <a:t>Oferta E2R | </a:t>
            </a:r>
            <a:r>
              <a:rPr kumimoji="0" lang="es-MX" altLang="zh-CN" sz="28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cs typeface="Calibri" panose="020F0502020204030204" pitchFamily="34" charset="0"/>
              </a:rPr>
              <a:t>FCU</a:t>
            </a:r>
          </a:p>
        </p:txBody>
      </p:sp>
      <p:sp>
        <p:nvSpPr>
          <p:cNvPr id="6" name="Explosion: 8 Points 5">
            <a:extLst>
              <a:ext uri="{FF2B5EF4-FFF2-40B4-BE49-F238E27FC236}">
                <a16:creationId xmlns:a16="http://schemas.microsoft.com/office/drawing/2014/main" id="{419E1D54-05A6-1DD9-041D-60CFC09BDEDB}"/>
              </a:ext>
            </a:extLst>
          </p:cNvPr>
          <p:cNvSpPr/>
          <p:nvPr/>
        </p:nvSpPr>
        <p:spPr>
          <a:xfrm>
            <a:off x="50650" y="573996"/>
            <a:ext cx="1847232" cy="1479998"/>
          </a:xfrm>
          <a:prstGeom prst="irregularSeal1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solidFill>
                  <a:schemeClr val="tx1"/>
                </a:solidFill>
              </a:rPr>
              <a:t>En lista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3153FE2-5AE2-1E33-8FE5-67D8D9D02B33}"/>
              </a:ext>
            </a:extLst>
          </p:cNvPr>
          <p:cNvGrpSpPr/>
          <p:nvPr/>
        </p:nvGrpSpPr>
        <p:grpSpPr>
          <a:xfrm>
            <a:off x="4847269" y="1518752"/>
            <a:ext cx="6849431" cy="4467849"/>
            <a:chOff x="4153467" y="1601926"/>
            <a:chExt cx="6849431" cy="446784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260E960B-1C1E-17E3-324D-5E818A5F7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53467" y="1601926"/>
              <a:ext cx="6849431" cy="4467849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5AC6280-0232-7254-D820-6ECE3D4B2B73}"/>
                </a:ext>
              </a:extLst>
            </p:cNvPr>
            <p:cNvSpPr txBox="1"/>
            <p:nvPr/>
          </p:nvSpPr>
          <p:spPr>
            <a:xfrm>
              <a:off x="5757731" y="5324103"/>
              <a:ext cx="461369" cy="2608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s" sz="1100" dirty="0">
                  <a:solidFill>
                    <a:schemeClr val="bg1"/>
                  </a:solidFill>
                </a:rPr>
                <a:t>Tramp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A004EE6-61AC-919B-C3C7-21E0125B28D4}"/>
                </a:ext>
              </a:extLst>
            </p:cNvPr>
            <p:cNvSpPr txBox="1"/>
            <p:nvPr/>
          </p:nvSpPr>
          <p:spPr>
            <a:xfrm>
              <a:off x="7855448" y="5337354"/>
              <a:ext cx="461369" cy="2608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s" sz="900" dirty="0">
                  <a:solidFill>
                    <a:schemeClr val="bg1"/>
                  </a:solidFill>
                </a:rPr>
                <a:t>Colector de agua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709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E081A0F-9FEC-4887-8646-156F1D75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E081A0F-9FEC-4887-8646-156F1D753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396A6020-414E-4CA8-9AF8-6BB4593953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altLang="zh-C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/>
              <a:ea typeface="+mj-ea"/>
              <a:cs typeface="+mn-cs"/>
              <a:sym typeface="+mj-ea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770B4D3-C0AE-CB60-C1D8-4BC6399DFD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432896"/>
              </p:ext>
            </p:extLst>
          </p:nvPr>
        </p:nvGraphicFramePr>
        <p:xfrm>
          <a:off x="4977442" y="1669076"/>
          <a:ext cx="6245528" cy="4086225"/>
        </p:xfrm>
        <a:graphic>
          <a:graphicData uri="http://schemas.openxmlformats.org/drawingml/2006/table">
            <a:tbl>
              <a:tblPr/>
              <a:tblGrid>
                <a:gridCol w="756379">
                  <a:extLst>
                    <a:ext uri="{9D8B030D-6E8A-4147-A177-3AD203B41FA5}">
                      <a16:colId xmlns:a16="http://schemas.microsoft.com/office/drawing/2014/main" val="1415217158"/>
                    </a:ext>
                  </a:extLst>
                </a:gridCol>
                <a:gridCol w="756379">
                  <a:extLst>
                    <a:ext uri="{9D8B030D-6E8A-4147-A177-3AD203B41FA5}">
                      <a16:colId xmlns:a16="http://schemas.microsoft.com/office/drawing/2014/main" val="261871981"/>
                    </a:ext>
                  </a:extLst>
                </a:gridCol>
                <a:gridCol w="756379">
                  <a:extLst>
                    <a:ext uri="{9D8B030D-6E8A-4147-A177-3AD203B41FA5}">
                      <a16:colId xmlns:a16="http://schemas.microsoft.com/office/drawing/2014/main" val="2050451153"/>
                    </a:ext>
                  </a:extLst>
                </a:gridCol>
                <a:gridCol w="756379">
                  <a:extLst>
                    <a:ext uri="{9D8B030D-6E8A-4147-A177-3AD203B41FA5}">
                      <a16:colId xmlns:a16="http://schemas.microsoft.com/office/drawing/2014/main" val="1475333912"/>
                    </a:ext>
                  </a:extLst>
                </a:gridCol>
                <a:gridCol w="756379">
                  <a:extLst>
                    <a:ext uri="{9D8B030D-6E8A-4147-A177-3AD203B41FA5}">
                      <a16:colId xmlns:a16="http://schemas.microsoft.com/office/drawing/2014/main" val="662255304"/>
                    </a:ext>
                  </a:extLst>
                </a:gridCol>
                <a:gridCol w="756379">
                  <a:extLst>
                    <a:ext uri="{9D8B030D-6E8A-4147-A177-3AD203B41FA5}">
                      <a16:colId xmlns:a16="http://schemas.microsoft.com/office/drawing/2014/main" val="1002661965"/>
                    </a:ext>
                  </a:extLst>
                </a:gridCol>
                <a:gridCol w="1707254">
                  <a:extLst>
                    <a:ext uri="{9D8B030D-6E8A-4147-A177-3AD203B41FA5}">
                      <a16:colId xmlns:a16="http://schemas.microsoft.com/office/drawing/2014/main" val="318051550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VS</a:t>
                      </a:r>
                      <a:endParaRPr lang="en-US" sz="2000" b="1" i="0" u="none" strike="noStrike" dirty="0">
                        <a:solidFill>
                          <a:srgbClr val="C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álvula de control FCU con retorno por resor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1585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erie 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18371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álvula de 2 ví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80147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álvula de 3 ví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2777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920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82731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94338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 15 - 1/2"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32002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 20 - 3/4"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4017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 25 - 1"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94010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P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5772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P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00430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Aptos Narrow" panose="020B0004020202020204" pitchFamily="34" charset="0"/>
                        </a:rPr>
                        <a:t>N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9656492"/>
                  </a:ext>
                </a:extLst>
              </a:tr>
            </a:tbl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B8EF3521-EE7A-6F5D-1483-978ADBBAB75C}"/>
              </a:ext>
            </a:extLst>
          </p:cNvPr>
          <p:cNvSpPr txBox="1">
            <a:spLocks/>
          </p:cNvSpPr>
          <p:nvPr/>
        </p:nvSpPr>
        <p:spPr>
          <a:xfrm>
            <a:off x="398474" y="274454"/>
            <a:ext cx="12227638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zh-CN" sz="28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vs9 válvulas para </a:t>
            </a:r>
            <a:r>
              <a:rPr kumimoji="0" lang="es-MX" altLang="zh-CN" sz="2800" i="0" u="none" strike="noStrike" kern="1200" cap="all" spc="0" normalizeH="0" baseline="0" noProof="0" dirty="0" err="1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fcu</a:t>
            </a:r>
            <a:r>
              <a:rPr kumimoji="0" lang="es-MX" altLang="zh-CN" sz="28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 con retorno por resorte</a:t>
            </a:r>
            <a:endParaRPr kumimoji="0" lang="es-MX" altLang="zh-CN" sz="28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B8D8F4-60EB-6B73-8CE6-E2DE32DFB62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9872" y="1372512"/>
            <a:ext cx="2450804" cy="2920237"/>
          </a:xfrm>
          <a:prstGeom prst="rect">
            <a:avLst/>
          </a:prstGeom>
        </p:spPr>
      </p:pic>
      <p:graphicFrame>
        <p:nvGraphicFramePr>
          <p:cNvPr id="5" name="Table 25">
            <a:extLst>
              <a:ext uri="{FF2B5EF4-FFF2-40B4-BE49-F238E27FC236}">
                <a16:creationId xmlns:a16="http://schemas.microsoft.com/office/drawing/2014/main" id="{BD922D2E-4330-94E1-8FE7-EB69BFEB7E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2191350"/>
              </p:ext>
            </p:extLst>
          </p:nvPr>
        </p:nvGraphicFramePr>
        <p:xfrm>
          <a:off x="1189284" y="4447964"/>
          <a:ext cx="3924000" cy="18360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62000">
                  <a:extLst>
                    <a:ext uri="{9D8B030D-6E8A-4147-A177-3AD203B41FA5}">
                      <a16:colId xmlns:a16="http://schemas.microsoft.com/office/drawing/2014/main" val="470435450"/>
                    </a:ext>
                  </a:extLst>
                </a:gridCol>
                <a:gridCol w="1962000">
                  <a:extLst>
                    <a:ext uri="{9D8B030D-6E8A-4147-A177-3AD203B41FA5}">
                      <a16:colId xmlns:a16="http://schemas.microsoft.com/office/drawing/2014/main" val="1548681268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álvula y actuador FCU</a:t>
                      </a:r>
                      <a:endParaRPr lang="zh-CN" altLang="en-US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73502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es" altLang="zh-CN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álvula FCU de retorno por resorte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A8A8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200" b="1" dirty="0"/>
                        <a:t>Serie </a:t>
                      </a:r>
                      <a:endParaRPr lang="zh-CN" altLang="en-US" sz="1400" b="1" dirty="0"/>
                    </a:p>
                  </a:txBody>
                  <a:tcPr anchor="ctr">
                    <a:solidFill>
                      <a:srgbClr val="A8A8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36717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tron de válvula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 vías</a:t>
                      </a:r>
                      <a:r>
                        <a:rPr lang="es" altLang="en-US" sz="1000" dirty="0"/>
                        <a:t> </a:t>
                      </a:r>
                      <a:r>
                        <a:rPr lang="es" altLang="zh-CN" sz="1000" dirty="0"/>
                        <a:t>/ 3 vías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123040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Tensión de alimentación</a:t>
                      </a:r>
                      <a:endParaRPr lang="zh-CN" altLang="en-US" sz="10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24 / 110 / 220 </a:t>
                      </a:r>
                      <a:r>
                        <a:rPr lang="en-US" altLang="zh-CN" sz="1000" dirty="0"/>
                        <a:t>VAC</a:t>
                      </a:r>
                      <a:r>
                        <a:rPr lang="es" altLang="zh-CN" sz="1000" dirty="0"/>
                        <a:t> ±10%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222197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dirty="0"/>
                        <a:t>Conexión</a:t>
                      </a:r>
                      <a:r>
                        <a:rPr lang="es" alt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s-ES" altLang="zh-CN" sz="1000" noProof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Rosca</a:t>
                      </a: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>
                          <a:highlight>
                            <a:srgbClr val="FFFF00"/>
                          </a:highlight>
                        </a:rPr>
                        <a:t>BSPP/BSPT </a:t>
                      </a:r>
                      <a:r>
                        <a:rPr lang="es" altLang="zh-CN" sz="1000" dirty="0"/>
                        <a:t>/ </a:t>
                      </a:r>
                      <a:r>
                        <a:rPr lang="en-US" altLang="zh-CN" sz="1000" dirty="0">
                          <a:highlight>
                            <a:srgbClr val="00FF00"/>
                          </a:highlight>
                        </a:rPr>
                        <a:t>NPT</a:t>
                      </a:r>
                      <a:endParaRPr lang="zh-CN" altLang="en-US" sz="1000" dirty="0">
                        <a:highlight>
                          <a:srgbClr val="00FF00"/>
                        </a:highlight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801438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altLang="zh-CN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maño</a:t>
                      </a:r>
                      <a:endParaRPr lang="zh-CN" alt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altLang="zh-CN" sz="1000" dirty="0"/>
                        <a:t>DN15/DN20/DN25</a:t>
                      </a:r>
                      <a:endParaRPr lang="zh-CN" alt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938108"/>
                  </a:ext>
                </a:extLst>
              </a:tr>
            </a:tbl>
          </a:graphicData>
        </a:graphic>
      </p:graphicFrame>
      <p:sp>
        <p:nvSpPr>
          <p:cNvPr id="7" name="Explosion: 8 Points 6">
            <a:extLst>
              <a:ext uri="{FF2B5EF4-FFF2-40B4-BE49-F238E27FC236}">
                <a16:creationId xmlns:a16="http://schemas.microsoft.com/office/drawing/2014/main" id="{203C01B1-2B40-D7CC-AEEA-1A3D5BDA6942}"/>
              </a:ext>
            </a:extLst>
          </p:cNvPr>
          <p:cNvSpPr/>
          <p:nvPr/>
        </p:nvSpPr>
        <p:spPr>
          <a:xfrm>
            <a:off x="398474" y="1022095"/>
            <a:ext cx="1847232" cy="1768882"/>
          </a:xfrm>
          <a:prstGeom prst="irregularSeal1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dirty="0">
                <a:solidFill>
                  <a:schemeClr val="tx1"/>
                </a:solidFill>
              </a:rPr>
              <a:t>En lista </a:t>
            </a:r>
          </a:p>
        </p:txBody>
      </p:sp>
    </p:spTree>
    <p:extLst>
      <p:ext uri="{BB962C8B-B14F-4D97-AF65-F5344CB8AC3E}">
        <p14:creationId xmlns:p14="http://schemas.microsoft.com/office/powerpoint/2010/main" val="4036651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E081A0F-9FEC-4887-8646-156F1D75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E081A0F-9FEC-4887-8646-156F1D753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396A6020-414E-4CA8-9AF8-6BB4593953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altLang="zh-C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/>
              <a:ea typeface="+mj-ea"/>
              <a:cs typeface="+mn-cs"/>
              <a:sym typeface="+mj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29AD0-3523-40A2-A721-908E42745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s-MX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MX" sz="1000" b="1" i="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376D2A-F83D-1E8A-D86C-105CFCBEB286}"/>
              </a:ext>
            </a:extLst>
          </p:cNvPr>
          <p:cNvSpPr txBox="1">
            <a:spLocks/>
          </p:cNvSpPr>
          <p:nvPr/>
        </p:nvSpPr>
        <p:spPr>
          <a:xfrm>
            <a:off x="322274" y="279537"/>
            <a:ext cx="12227638" cy="5981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zh-CN" sz="24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vs9 válvulas para </a:t>
            </a:r>
            <a:r>
              <a:rPr kumimoji="0" lang="es-MX" altLang="zh-CN" sz="2400" i="0" u="none" strike="noStrike" kern="1200" cap="all" spc="0" normalizeH="0" baseline="0" noProof="0" dirty="0" err="1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fcu</a:t>
            </a:r>
            <a:r>
              <a:rPr kumimoji="0" lang="es-MX" altLang="zh-CN" sz="24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 con retorno por resorte – NPT </a:t>
            </a:r>
            <a:endParaRPr kumimoji="0" lang="es-MX" altLang="zh-CN" sz="24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altLang="zh-CN" sz="24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Calibri" panose="020F0502020204030204" pitchFamily="34" charset="0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0A59621B-56F0-D678-5F13-CA4104070C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814522"/>
              </p:ext>
            </p:extLst>
          </p:nvPr>
        </p:nvGraphicFramePr>
        <p:xfrm>
          <a:off x="419100" y="698503"/>
          <a:ext cx="11353800" cy="6019278"/>
        </p:xfrm>
        <a:graphic>
          <a:graphicData uri="http://schemas.openxmlformats.org/drawingml/2006/table">
            <a:tbl>
              <a:tblPr/>
              <a:tblGrid>
                <a:gridCol w="933468">
                  <a:extLst>
                    <a:ext uri="{9D8B030D-6E8A-4147-A177-3AD203B41FA5}">
                      <a16:colId xmlns:a16="http://schemas.microsoft.com/office/drawing/2014/main" val="99342447"/>
                    </a:ext>
                  </a:extLst>
                </a:gridCol>
                <a:gridCol w="1004492">
                  <a:extLst>
                    <a:ext uri="{9D8B030D-6E8A-4147-A177-3AD203B41FA5}">
                      <a16:colId xmlns:a16="http://schemas.microsoft.com/office/drawing/2014/main" val="2113307319"/>
                    </a:ext>
                  </a:extLst>
                </a:gridCol>
                <a:gridCol w="919939">
                  <a:extLst>
                    <a:ext uri="{9D8B030D-6E8A-4147-A177-3AD203B41FA5}">
                      <a16:colId xmlns:a16="http://schemas.microsoft.com/office/drawing/2014/main" val="2925445"/>
                    </a:ext>
                  </a:extLst>
                </a:gridCol>
                <a:gridCol w="960523">
                  <a:extLst>
                    <a:ext uri="{9D8B030D-6E8A-4147-A177-3AD203B41FA5}">
                      <a16:colId xmlns:a16="http://schemas.microsoft.com/office/drawing/2014/main" val="2700604651"/>
                    </a:ext>
                  </a:extLst>
                </a:gridCol>
                <a:gridCol w="703482">
                  <a:extLst>
                    <a:ext uri="{9D8B030D-6E8A-4147-A177-3AD203B41FA5}">
                      <a16:colId xmlns:a16="http://schemas.microsoft.com/office/drawing/2014/main" val="3154493718"/>
                    </a:ext>
                  </a:extLst>
                </a:gridCol>
                <a:gridCol w="753389">
                  <a:extLst>
                    <a:ext uri="{9D8B030D-6E8A-4147-A177-3AD203B41FA5}">
                      <a16:colId xmlns:a16="http://schemas.microsoft.com/office/drawing/2014/main" val="2244193602"/>
                    </a:ext>
                  </a:extLst>
                </a:gridCol>
                <a:gridCol w="1086490">
                  <a:extLst>
                    <a:ext uri="{9D8B030D-6E8A-4147-A177-3AD203B41FA5}">
                      <a16:colId xmlns:a16="http://schemas.microsoft.com/office/drawing/2014/main" val="1476879988"/>
                    </a:ext>
                  </a:extLst>
                </a:gridCol>
                <a:gridCol w="933468">
                  <a:extLst>
                    <a:ext uri="{9D8B030D-6E8A-4147-A177-3AD203B41FA5}">
                      <a16:colId xmlns:a16="http://schemas.microsoft.com/office/drawing/2014/main" val="3312705281"/>
                    </a:ext>
                  </a:extLst>
                </a:gridCol>
                <a:gridCol w="919939">
                  <a:extLst>
                    <a:ext uri="{9D8B030D-6E8A-4147-A177-3AD203B41FA5}">
                      <a16:colId xmlns:a16="http://schemas.microsoft.com/office/drawing/2014/main" val="3374210761"/>
                    </a:ext>
                  </a:extLst>
                </a:gridCol>
                <a:gridCol w="1014637">
                  <a:extLst>
                    <a:ext uri="{9D8B030D-6E8A-4147-A177-3AD203B41FA5}">
                      <a16:colId xmlns:a16="http://schemas.microsoft.com/office/drawing/2014/main" val="307828875"/>
                    </a:ext>
                  </a:extLst>
                </a:gridCol>
                <a:gridCol w="946994">
                  <a:extLst>
                    <a:ext uri="{9D8B030D-6E8A-4147-A177-3AD203B41FA5}">
                      <a16:colId xmlns:a16="http://schemas.microsoft.com/office/drawing/2014/main" val="1624882620"/>
                    </a:ext>
                  </a:extLst>
                </a:gridCol>
                <a:gridCol w="1176979">
                  <a:extLst>
                    <a:ext uri="{9D8B030D-6E8A-4147-A177-3AD203B41FA5}">
                      <a16:colId xmlns:a16="http://schemas.microsoft.com/office/drawing/2014/main" val="3068251973"/>
                    </a:ext>
                  </a:extLst>
                </a:gridCol>
              </a:tblGrid>
              <a:tr h="494775"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KU</a:t>
                      </a: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onexión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edio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emperatura </a:t>
                      </a:r>
                    </a:p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l Medio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terial del Cuerpo 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atrón de cuerpo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N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amaño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Nominal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(pulgadas)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Kvs 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3/h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resión </a:t>
                      </a:r>
                    </a:p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iferencial 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 cierre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Voltaje del actuador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ipo de actuador</a:t>
                      </a: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3151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gua fría y caliente, hasta un 50% de solución de glicol.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° a 94°C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ronce</a:t>
                      </a:r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HPb59-2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 vías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21"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 retorno por resorte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645160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215148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12291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13044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208889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9145393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0620479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607575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935283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 vías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0228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778239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755720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451047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080198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24841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1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78820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20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029300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25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NPT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4301157"/>
                  </a:ext>
                </a:extLst>
              </a:tr>
              <a:tr h="265849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A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 grid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ólo actuador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1983897"/>
                  </a:ext>
                </a:extLst>
              </a:tr>
              <a:tr h="260495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B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9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07660233"/>
                  </a:ext>
                </a:extLst>
              </a:tr>
              <a:tr h="200763"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C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gridSpan="9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5313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1927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E081A0F-9FEC-4887-8646-156F1D7535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E081A0F-9FEC-4887-8646-156F1D753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396A6020-414E-4CA8-9AF8-6BB4593953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altLang="zh-CN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思源黑体 CN Bold"/>
              <a:ea typeface="+mj-ea"/>
              <a:cs typeface="+mn-cs"/>
              <a:sym typeface="+mj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29AD0-3523-40A2-A721-908E42745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s-MX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MX" sz="1000" b="1" i="0" u="none" strike="noStrike" kern="1200" cap="none" spc="0" normalizeH="0" baseline="0" noProof="0" dirty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0A59621B-56F0-D678-5F13-CA4104070C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971788"/>
              </p:ext>
            </p:extLst>
          </p:nvPr>
        </p:nvGraphicFramePr>
        <p:xfrm>
          <a:off x="419100" y="698503"/>
          <a:ext cx="11353800" cy="6019278"/>
        </p:xfrm>
        <a:graphic>
          <a:graphicData uri="http://schemas.openxmlformats.org/drawingml/2006/table">
            <a:tbl>
              <a:tblPr/>
              <a:tblGrid>
                <a:gridCol w="933468">
                  <a:extLst>
                    <a:ext uri="{9D8B030D-6E8A-4147-A177-3AD203B41FA5}">
                      <a16:colId xmlns:a16="http://schemas.microsoft.com/office/drawing/2014/main" val="99342447"/>
                    </a:ext>
                  </a:extLst>
                </a:gridCol>
                <a:gridCol w="1004492">
                  <a:extLst>
                    <a:ext uri="{9D8B030D-6E8A-4147-A177-3AD203B41FA5}">
                      <a16:colId xmlns:a16="http://schemas.microsoft.com/office/drawing/2014/main" val="2113307319"/>
                    </a:ext>
                  </a:extLst>
                </a:gridCol>
                <a:gridCol w="919939">
                  <a:extLst>
                    <a:ext uri="{9D8B030D-6E8A-4147-A177-3AD203B41FA5}">
                      <a16:colId xmlns:a16="http://schemas.microsoft.com/office/drawing/2014/main" val="2925445"/>
                    </a:ext>
                  </a:extLst>
                </a:gridCol>
                <a:gridCol w="960523">
                  <a:extLst>
                    <a:ext uri="{9D8B030D-6E8A-4147-A177-3AD203B41FA5}">
                      <a16:colId xmlns:a16="http://schemas.microsoft.com/office/drawing/2014/main" val="2700604651"/>
                    </a:ext>
                  </a:extLst>
                </a:gridCol>
                <a:gridCol w="703482">
                  <a:extLst>
                    <a:ext uri="{9D8B030D-6E8A-4147-A177-3AD203B41FA5}">
                      <a16:colId xmlns:a16="http://schemas.microsoft.com/office/drawing/2014/main" val="3154493718"/>
                    </a:ext>
                  </a:extLst>
                </a:gridCol>
                <a:gridCol w="753389">
                  <a:extLst>
                    <a:ext uri="{9D8B030D-6E8A-4147-A177-3AD203B41FA5}">
                      <a16:colId xmlns:a16="http://schemas.microsoft.com/office/drawing/2014/main" val="2244193602"/>
                    </a:ext>
                  </a:extLst>
                </a:gridCol>
                <a:gridCol w="1086490">
                  <a:extLst>
                    <a:ext uri="{9D8B030D-6E8A-4147-A177-3AD203B41FA5}">
                      <a16:colId xmlns:a16="http://schemas.microsoft.com/office/drawing/2014/main" val="1476879988"/>
                    </a:ext>
                  </a:extLst>
                </a:gridCol>
                <a:gridCol w="933468">
                  <a:extLst>
                    <a:ext uri="{9D8B030D-6E8A-4147-A177-3AD203B41FA5}">
                      <a16:colId xmlns:a16="http://schemas.microsoft.com/office/drawing/2014/main" val="3312705281"/>
                    </a:ext>
                  </a:extLst>
                </a:gridCol>
                <a:gridCol w="919939">
                  <a:extLst>
                    <a:ext uri="{9D8B030D-6E8A-4147-A177-3AD203B41FA5}">
                      <a16:colId xmlns:a16="http://schemas.microsoft.com/office/drawing/2014/main" val="3374210761"/>
                    </a:ext>
                  </a:extLst>
                </a:gridCol>
                <a:gridCol w="1014637">
                  <a:extLst>
                    <a:ext uri="{9D8B030D-6E8A-4147-A177-3AD203B41FA5}">
                      <a16:colId xmlns:a16="http://schemas.microsoft.com/office/drawing/2014/main" val="307828875"/>
                    </a:ext>
                  </a:extLst>
                </a:gridCol>
                <a:gridCol w="946994">
                  <a:extLst>
                    <a:ext uri="{9D8B030D-6E8A-4147-A177-3AD203B41FA5}">
                      <a16:colId xmlns:a16="http://schemas.microsoft.com/office/drawing/2014/main" val="1624882620"/>
                    </a:ext>
                  </a:extLst>
                </a:gridCol>
                <a:gridCol w="1176979">
                  <a:extLst>
                    <a:ext uri="{9D8B030D-6E8A-4147-A177-3AD203B41FA5}">
                      <a16:colId xmlns:a16="http://schemas.microsoft.com/office/drawing/2014/main" val="3068251973"/>
                    </a:ext>
                  </a:extLst>
                </a:gridCol>
              </a:tblGrid>
              <a:tr h="494775"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SKU</a:t>
                      </a: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Conexión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edio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emperatura </a:t>
                      </a:r>
                    </a:p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l Medio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aterial del Cuerpo 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atrón de cuerpo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N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amaño</a:t>
                      </a:r>
                    </a:p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Nominal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(pulgadas)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Kvs 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m3/h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Presión </a:t>
                      </a:r>
                    </a:p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iferencial </a:t>
                      </a:r>
                      <a:b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de cierre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Voltaje del actuador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ptos Narrow" panose="020B0004020202020204" pitchFamily="34" charset="0"/>
                        </a:rPr>
                        <a:t>Tipo de actuador</a:t>
                      </a: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3151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Agua fría y caliente, hasta un 50% de solución de glicol.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° a 94°C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18"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ronce</a:t>
                      </a:r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HPb59-2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 vías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21"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on retorno por resorte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645160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4215148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A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612291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13044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208889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B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9145393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0620479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2607575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2C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6935283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 vías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0228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8778239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A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755720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451047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5080198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B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9248416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1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1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½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0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3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3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78820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20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0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¾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,4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6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5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0293002"/>
                  </a:ext>
                </a:extLst>
              </a:tr>
              <a:tr h="266522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3C25P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BSP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DN25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4,2 ± 10%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30 psi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</a:br>
                      <a:r>
                        <a:rPr lang="e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0,2 MPa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4301157"/>
                  </a:ext>
                </a:extLst>
              </a:tr>
              <a:tr h="265849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A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rowSpan="3" gridSpan="9"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Sólo actuador</a:t>
                      </a: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4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1983897"/>
                  </a:ext>
                </a:extLst>
              </a:tr>
              <a:tr h="260495"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B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9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110 </a:t>
                      </a:r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07660233"/>
                  </a:ext>
                </a:extLst>
              </a:tr>
              <a:tr h="200763"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S9ZZC00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gridSpan="9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220 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C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5294" marR="5294" marT="52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D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531358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9B2E5A3-174E-04D4-EC8F-59D95205C598}"/>
              </a:ext>
            </a:extLst>
          </p:cNvPr>
          <p:cNvSpPr txBox="1">
            <a:spLocks/>
          </p:cNvSpPr>
          <p:nvPr/>
        </p:nvSpPr>
        <p:spPr>
          <a:xfrm>
            <a:off x="322274" y="279537"/>
            <a:ext cx="12227638" cy="30264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altLang="zh-CN" sz="24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vs9 válvulas para </a:t>
            </a:r>
            <a:r>
              <a:rPr kumimoji="0" lang="es-MX" altLang="zh-CN" sz="2400" i="0" u="none" strike="noStrike" kern="1200" cap="all" spc="0" normalizeH="0" baseline="0" noProof="0" dirty="0" err="1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fcu</a:t>
            </a:r>
            <a:r>
              <a:rPr kumimoji="0" lang="es-MX" altLang="zh-CN" sz="2400" i="0" u="none" strike="noStrike" kern="1200" cap="all" spc="0" normalizeH="0" baseline="0" noProof="0" dirty="0">
                <a:ln>
                  <a:noFill/>
                </a:ln>
                <a:solidFill>
                  <a:srgbClr val="DC202E"/>
                </a:solidFill>
                <a:effectLst/>
                <a:uLnTx/>
                <a:uFillTx/>
                <a:latin typeface="Arial Black"/>
              </a:rPr>
              <a:t> con retorno por resorte – BSPT</a:t>
            </a:r>
            <a:endParaRPr kumimoji="0" lang="es-MX" altLang="zh-CN" sz="2400" b="1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924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P0cHa9BohaHElQ_Sv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Pd.4OB074OdkuZOZ09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P0cHa9BohaHElQ_Sv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P0cHa9BohaHElQ_Sv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P0cHa9BohaHElQ_Sv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Custom 1">
      <a:majorFont>
        <a:latin typeface="Arial Black"/>
        <a:ea typeface="思源黑体 CN Bold"/>
        <a:cs typeface=""/>
      </a:majorFont>
      <a:minorFont>
        <a:latin typeface="Arial"/>
        <a:ea typeface="思源黑体 CN Normal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_v14" id="{4C955DBE-6A6B-4404-A7FC-985F50DCB814}" vid="{9FCABB78-B434-4B7B-86A1-129067C79F96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Honeywell Sans"/>
        <a:ea typeface=""/>
        <a:cs typeface=""/>
      </a:majorFont>
      <a:minorFont>
        <a:latin typeface="Honeywell 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Honeywell Sans"/>
        <a:ea typeface=""/>
        <a:cs typeface=""/>
      </a:majorFont>
      <a:minorFont>
        <a:latin typeface="Honeywell 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B26A1519BBA744976EF058AC218929" ma:contentTypeVersion="8" ma:contentTypeDescription="Create a new document." ma:contentTypeScope="" ma:versionID="e18f5c9c17a6d5f8b427d4011265e6e3">
  <xsd:schema xmlns:xsd="http://www.w3.org/2001/XMLSchema" xmlns:xs="http://www.w3.org/2001/XMLSchema" xmlns:p="http://schemas.microsoft.com/office/2006/metadata/properties" xmlns:ns2="87fc68a8-cc2a-4a3b-81fc-3faadccf3bdc" targetNamespace="http://schemas.microsoft.com/office/2006/metadata/properties" ma:root="true" ma:fieldsID="8021f81eb2ae6b5a9fc870c1a53b7db1" ns2:_="">
    <xsd:import namespace="87fc68a8-cc2a-4a3b-81fc-3faadccf3bd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fc68a8-cc2a-4a3b-81fc-3faadccf3b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BB76DD-93FC-4DB0-B927-ED246CAD52CA}">
  <ds:schemaRefs>
    <ds:schemaRef ds:uri="213af126-92eb-4bb5-8bfd-1661103a2928"/>
    <ds:schemaRef ds:uri="2e4f7139-f525-464a-a848-17f8a955bf91"/>
    <ds:schemaRef ds:uri="556c013f-0c28-4996-a386-464d5c02377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DF2A4E2-E3B2-49B0-935B-BE51ADC65E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3EF590-46EF-4004-B81E-DF883171C1E1}">
  <ds:schemaRefs>
    <ds:schemaRef ds:uri="87fc68a8-cc2a-4a3b-81fc-3faadccf3b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767</TotalTime>
  <Words>891</Words>
  <Application>Microsoft Office PowerPoint</Application>
  <PresentationFormat>Widescreen</PresentationFormat>
  <Paragraphs>360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ptos Narrow</vt:lpstr>
      <vt:lpstr>Arial</vt:lpstr>
      <vt:lpstr>Arial Black</vt:lpstr>
      <vt:lpstr>Honeywell Sans</vt:lpstr>
      <vt:lpstr>Honeywell Sans Medium</vt:lpstr>
      <vt:lpstr>思源黑体 CN Bold</vt:lpstr>
      <vt:lpstr>Honeywell 2019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Q61 room air sensor Launching training</dc:title>
  <dc:creator>Johan Sebastian Valencia</dc:creator>
  <cp:lastModifiedBy>Martinez, Fabiana</cp:lastModifiedBy>
  <cp:revision>192</cp:revision>
  <dcterms:created xsi:type="dcterms:W3CDTF">2021-02-23T03:21:00Z</dcterms:created>
  <dcterms:modified xsi:type="dcterms:W3CDTF">2024-04-12T22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2-04-07T09:19:55Z</vt:lpwstr>
  </property>
  <property fmtid="{D5CDD505-2E9C-101B-9397-08002B2CF9AE}" pid="4" name="MSIP_Label_d546e5e1-5d42-4630-bacd-c69bfdcbd5e8_Method">
    <vt:lpwstr>Standar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20dc90a2-03e8-4687-99c6-d44248404749</vt:lpwstr>
  </property>
  <property fmtid="{D5CDD505-2E9C-101B-9397-08002B2CF9AE}" pid="8" name="MSIP_Label_d546e5e1-5d42-4630-bacd-c69bfdcbd5e8_ContentBits">
    <vt:lpwstr>0</vt:lpwstr>
  </property>
  <property fmtid="{D5CDD505-2E9C-101B-9397-08002B2CF9AE}" pid="9" name="SmartTag">
    <vt:lpwstr>4</vt:lpwstr>
  </property>
  <property fmtid="{D5CDD505-2E9C-101B-9397-08002B2CF9AE}" pid="10" name="ContentTypeId">
    <vt:lpwstr>0x0101006AB26A1519BBA744976EF058AC218929</vt:lpwstr>
  </property>
  <property fmtid="{D5CDD505-2E9C-101B-9397-08002B2CF9AE}" pid="11" name="MediaServiceImageTags">
    <vt:lpwstr/>
  </property>
</Properties>
</file>